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59" r:id="rId4"/>
    <p:sldId id="261" r:id="rId5"/>
    <p:sldId id="262" r:id="rId6"/>
    <p:sldId id="263" r:id="rId7"/>
    <p:sldId id="264" r:id="rId8"/>
  </p:sldIdLst>
  <p:sldSz cx="12192000" cy="6858000"/>
  <p:notesSz cx="6858000" cy="9144000"/>
  <p:custDataLst>
    <p:tags r:id="rId9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93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252" y="-2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7902E0-DB5A-4F6A-9716-4E4AACC88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494A91-F870-4B3E-80A5-76FAA9836C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5396D-7BCA-45B9-8842-278465AC0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FA065A-08C2-4752-95AB-723167A49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F6232E-CC64-4F1B-9760-4BE4DB3BA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95563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BF40A1-5855-4FB9-97C3-267E82441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286970-62E8-4581-A2DD-4A2815D2FC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28BE97-8856-4067-A359-4A517648C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E8BE7A-A40B-44C5-ACEF-C307B2095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208F28-B194-4B03-9510-6E276B718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550552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AB9B90A-784C-406C-8FEA-04773C1FA1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9E64EF-3CF0-4B25-98AA-EB5C9F25FA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45F819-608F-44FE-83C9-14C79A8D4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F3A62E-8771-4819-8C8E-C912301AC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9700CD-8924-4DE8-8AED-6FB2DB133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55848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6A2C4-C4B9-4F77-ABC0-A668BD0B2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41DAEB-6111-49C8-9ED8-1C43CB4DE9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DA6287-3DB0-491C-AB4D-3E9DAE915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0DBA6-BADA-4090-94A4-C0184D0E6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0A0A85-E8C1-44C0-8A2E-6C694A2D3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97967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AAB756-98DF-4590-9A4F-E8C58785E3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A21F01-5DD1-4965-A00F-E051BE47B3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3800D-CBAB-4177-BA3D-5E399D522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4E70C-0EEB-4CD1-8C87-F48844912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6B25D1-0304-46EE-9DDF-FB7EBCD76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2964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4B3689-0333-4604-8227-A5FB42D36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CBA69C-17F6-452D-AE9F-86D1D1E71E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37A533-8C04-4BA0-A9B2-EF42DB22A0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5FEA2B-8FD3-4010-A5C2-3C288C970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3F7B99-34F7-48C2-8ED1-F602A26F7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8506B5-669D-4C7F-A4F3-1F20E335A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95010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20C30-0741-4328-8A2F-C0CF70F58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3BF5F8-FA2B-4837-B5F8-B6B7B4F30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69D0C4-1001-4F46-BA6B-7AA8308474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7C8100-0B26-438F-91B8-D6EA9EFAC9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3A1F38-0BA4-4ABA-B7B0-3D765330AE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B2084F-0A11-467D-99BD-22C5099CD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C599A9-C91F-47AA-9260-738163C9C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6832E4-F531-4456-BDA7-B7C9F236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94368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57859-5168-43EB-9322-50EB0ACBB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438247-8A0D-44BB-8ED5-580882663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1DB2A3-8A46-4924-A313-7A01726F4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A8B264-11AF-4988-9ADD-58523191E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2891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C333F-CC82-44E2-8AEA-75BFF2D3A1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49A163-F1A6-40FF-B523-BE76BA358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4CCBB-9FF9-4F2E-A885-BEB78AECB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682745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8FDA5A-17A4-41AF-90C4-89FBDBB35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05D028-3487-4DA8-AEF8-43CD0DAB5A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C89F75-AD00-4BB2-9115-0794DDF181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BF7DA1-90AC-4D9A-BBAD-4458D16C89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5CEF33-12EB-4A95-B766-0B634FCE15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6B9A65-E28F-4349-BA9A-96D275FD3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10511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33E44-C7D4-476A-8C9A-72D8B4C93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29EAC9-9B1F-4688-9968-E39E0CB68C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E28C4B-551D-49BC-90F7-075BB772AE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3F6CD1-F7EC-4349-8B01-312D51EE5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904269-7C1E-4137-9502-16D708D5A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A2C3E6-3D45-45BD-8802-CD6908988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88303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AC9F01-C845-4236-B37A-A567DDFC1B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AC9F01-C845-4236-B37A-A567DDFC1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6B4282-80CF-4A9B-9943-E2E09C27E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2FFF10-BF91-4DBE-AEB1-96BE4F3523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EA39CB-12BB-49E7-B1C6-BBBFC219CF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2C446A-EC9B-41C1-937D-CC0131BB977A}" type="datetimeFigureOut">
              <a:rPr lang="hu-HU" smtClean="0"/>
              <a:t>2024. 04. 01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05E51-E764-40CB-B65F-E9EFB5B24D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81844A-D7CB-41F1-B5B4-5153F46232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4D74BB-D998-43B2-8B6E-81CA6CD299C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9973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13D9EE-6B6D-4C64-9B53-7F27F36C3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175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13D9EE-6B6D-4C64-9B53-7F27F36C3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4884B9E-0360-466E-85F3-2E20DF6AFC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265" y="5814127"/>
            <a:ext cx="1062597" cy="688273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004C80-FA8C-4527-A769-BD188D262C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0" y="-1"/>
            <a:ext cx="12192000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2075" tIns="384175" rIns="0" bIns="3841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base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ema</a:t>
            </a:r>
            <a:endParaRPr kumimoji="0" lang="hu-HU" sz="1800" b="1" i="0" u="none" strike="noStrike" kern="1200" cap="all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C809D1D-97C8-43F6-A8C0-6F210BF832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02200" y="5815013"/>
            <a:ext cx="1909763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268288" rIns="0" bIns="268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1</a:t>
            </a:r>
            <a:endParaRPr kumimoji="0" lang="hu-HU" sz="1100" b="0" i="1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Csoportba foglalás 7"/>
          <p:cNvGrpSpPr/>
          <p:nvPr/>
        </p:nvGrpSpPr>
        <p:grpSpPr>
          <a:xfrm>
            <a:off x="4721393" y="2052979"/>
            <a:ext cx="2470752" cy="2567606"/>
            <a:chOff x="4544833" y="2052979"/>
            <a:chExt cx="2470752" cy="2567606"/>
          </a:xfrm>
        </p:grpSpPr>
        <p:sp>
          <p:nvSpPr>
            <p:cNvPr id="6" name="Téglalap 5"/>
            <p:cNvSpPr/>
            <p:nvPr/>
          </p:nvSpPr>
          <p:spPr>
            <a:xfrm>
              <a:off x="4544833" y="2052979"/>
              <a:ext cx="2470752" cy="471638"/>
            </a:xfrm>
            <a:prstGeom prst="rect">
              <a:avLst/>
            </a:prstGeom>
            <a:solidFill>
              <a:srgbClr val="8593EE"/>
            </a:solidFill>
            <a:ln>
              <a:solidFill>
                <a:srgbClr val="8593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eason_2022_2023_Result</a:t>
              </a:r>
              <a:endParaRPr lang="hu-H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églalap 21"/>
            <p:cNvSpPr/>
            <p:nvPr/>
          </p:nvSpPr>
          <p:spPr>
            <a:xfrm>
              <a:off x="4544833" y="2524617"/>
              <a:ext cx="2470752" cy="2095968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r>
                <a:rPr lang="hu-HU" sz="1200" b="1" u="sng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und_id</a:t>
              </a:r>
              <a:r>
                <a:rPr lang="hu-H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hu-HU" sz="12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endParaRPr lang="hu-HU" sz="12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und_date</a:t>
              </a: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me_team</a:t>
              </a: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	</a:t>
              </a: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way_team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me_score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way_score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ints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ee</a:t>
              </a:r>
              <a:endParaRPr lang="hu-H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églalap 22"/>
            <p:cNvSpPr/>
            <p:nvPr/>
          </p:nvSpPr>
          <p:spPr>
            <a:xfrm>
              <a:off x="4544833" y="2524617"/>
              <a:ext cx="2470752" cy="280800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endParaRPr lang="hu-H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églalap 24"/>
            <p:cNvSpPr/>
            <p:nvPr/>
          </p:nvSpPr>
          <p:spPr>
            <a:xfrm>
              <a:off x="6032204" y="2524617"/>
              <a:ext cx="983380" cy="20959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>
                <a:spcAft>
                  <a:spcPts val="600"/>
                </a:spcAft>
              </a:pPr>
              <a:r>
                <a:rPr lang="hu-HU" sz="12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E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RCHAR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RCHAR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RCHAR</a:t>
              </a:r>
              <a:endParaRPr lang="hu-H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Csoportba foglalás 8"/>
          <p:cNvGrpSpPr/>
          <p:nvPr/>
        </p:nvGrpSpPr>
        <p:grpSpPr>
          <a:xfrm>
            <a:off x="8320513" y="2052979"/>
            <a:ext cx="2470752" cy="1508618"/>
            <a:chOff x="8320513" y="2052979"/>
            <a:chExt cx="2470752" cy="1508618"/>
          </a:xfrm>
        </p:grpSpPr>
        <p:sp>
          <p:nvSpPr>
            <p:cNvPr id="28" name="Téglalap 27"/>
            <p:cNvSpPr/>
            <p:nvPr/>
          </p:nvSpPr>
          <p:spPr>
            <a:xfrm>
              <a:off x="8320513" y="2052979"/>
              <a:ext cx="2470752" cy="471638"/>
            </a:xfrm>
            <a:prstGeom prst="rect">
              <a:avLst/>
            </a:prstGeom>
            <a:solidFill>
              <a:srgbClr val="8593EE"/>
            </a:solidFill>
            <a:ln>
              <a:solidFill>
                <a:srgbClr val="8593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eason_2022_2023_Yellow_Cards</a:t>
              </a:r>
              <a:endParaRPr lang="hu-H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églalap 28"/>
            <p:cNvSpPr/>
            <p:nvPr/>
          </p:nvSpPr>
          <p:spPr>
            <a:xfrm>
              <a:off x="8320513" y="2524617"/>
              <a:ext cx="2470752" cy="1036980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r>
                <a:rPr lang="hu-HU" sz="1200" b="1" u="sng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llow_card_id</a:t>
              </a:r>
              <a:r>
                <a:rPr lang="hu-HU" sz="12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endParaRPr lang="hu-HU" sz="12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und_id</a:t>
              </a:r>
              <a:endParaRPr lang="hu-H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yer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low_card_minute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églalap 29"/>
            <p:cNvSpPr/>
            <p:nvPr/>
          </p:nvSpPr>
          <p:spPr>
            <a:xfrm>
              <a:off x="8320513" y="2524617"/>
              <a:ext cx="2470752" cy="280800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endParaRPr lang="hu-H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églalap 30"/>
            <p:cNvSpPr/>
            <p:nvPr/>
          </p:nvSpPr>
          <p:spPr>
            <a:xfrm>
              <a:off x="9807884" y="2524617"/>
              <a:ext cx="983380" cy="10369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>
                <a:spcAft>
                  <a:spcPts val="600"/>
                </a:spcAft>
              </a:pPr>
              <a:r>
                <a:rPr lang="hu-HU" sz="12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RCHAR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</p:txBody>
        </p:sp>
      </p:grpSp>
      <p:cxnSp>
        <p:nvCxnSpPr>
          <p:cNvPr id="11" name="Szögletes összekötő 10"/>
          <p:cNvCxnSpPr>
            <a:stCxn id="23" idx="3"/>
          </p:cNvCxnSpPr>
          <p:nvPr/>
        </p:nvCxnSpPr>
        <p:spPr>
          <a:xfrm>
            <a:off x="7192145" y="2665017"/>
            <a:ext cx="1128368" cy="265718"/>
          </a:xfrm>
          <a:prstGeom prst="bentConnector3">
            <a:avLst/>
          </a:prstGeom>
          <a:ln w="12700">
            <a:solidFill>
              <a:schemeClr val="bg2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/>
          <p:nvPr/>
        </p:nvCxnSpPr>
        <p:spPr>
          <a:xfrm>
            <a:off x="7243309" y="2596415"/>
            <a:ext cx="0" cy="14400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gyenes összekötő 40"/>
          <p:cNvCxnSpPr/>
          <p:nvPr/>
        </p:nvCxnSpPr>
        <p:spPr>
          <a:xfrm rot="3600000">
            <a:off x="8263809" y="2837267"/>
            <a:ext cx="4309" cy="1234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gyenes összekötő 42"/>
          <p:cNvCxnSpPr/>
          <p:nvPr/>
        </p:nvCxnSpPr>
        <p:spPr>
          <a:xfrm rot="-3600000">
            <a:off x="8263808" y="2896965"/>
            <a:ext cx="4309" cy="1234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zögletes összekötő 44"/>
          <p:cNvCxnSpPr>
            <a:stCxn id="23" idx="1"/>
          </p:cNvCxnSpPr>
          <p:nvPr/>
        </p:nvCxnSpPr>
        <p:spPr>
          <a:xfrm rot="10800000" flipV="1">
            <a:off x="3593023" y="2665017"/>
            <a:ext cx="1128370" cy="260954"/>
          </a:xfrm>
          <a:prstGeom prst="bentConnector3">
            <a:avLst>
              <a:gd name="adj1" fmla="val 50000"/>
            </a:avLst>
          </a:prstGeom>
          <a:ln w="12700">
            <a:solidFill>
              <a:schemeClr val="bg2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gyenes összekötő 47"/>
          <p:cNvCxnSpPr/>
          <p:nvPr/>
        </p:nvCxnSpPr>
        <p:spPr>
          <a:xfrm rot="-3600000">
            <a:off x="3645692" y="2837266"/>
            <a:ext cx="4309" cy="1234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gyenes összekötő 48"/>
          <p:cNvCxnSpPr/>
          <p:nvPr/>
        </p:nvCxnSpPr>
        <p:spPr>
          <a:xfrm rot="3600000">
            <a:off x="3645691" y="2896964"/>
            <a:ext cx="4309" cy="12348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gyenes összekötő 50"/>
          <p:cNvCxnSpPr/>
          <p:nvPr/>
        </p:nvCxnSpPr>
        <p:spPr>
          <a:xfrm>
            <a:off x="4679090" y="2596415"/>
            <a:ext cx="0" cy="14400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Csoportba foglalás 6"/>
          <p:cNvGrpSpPr/>
          <p:nvPr/>
        </p:nvGrpSpPr>
        <p:grpSpPr>
          <a:xfrm>
            <a:off x="1122272" y="2052979"/>
            <a:ext cx="2470752" cy="1508618"/>
            <a:chOff x="1122272" y="2052979"/>
            <a:chExt cx="2470752" cy="1508618"/>
          </a:xfrm>
        </p:grpSpPr>
        <p:sp>
          <p:nvSpPr>
            <p:cNvPr id="32" name="Téglalap 31"/>
            <p:cNvSpPr/>
            <p:nvPr/>
          </p:nvSpPr>
          <p:spPr>
            <a:xfrm>
              <a:off x="1122272" y="2052979"/>
              <a:ext cx="2470752" cy="471638"/>
            </a:xfrm>
            <a:prstGeom prst="rect">
              <a:avLst/>
            </a:prstGeom>
            <a:solidFill>
              <a:srgbClr val="8593EE"/>
            </a:solidFill>
            <a:ln>
              <a:solidFill>
                <a:srgbClr val="8593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eason_2022_2023_Goals</a:t>
              </a:r>
              <a:endParaRPr lang="hu-H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églalap 32"/>
            <p:cNvSpPr/>
            <p:nvPr/>
          </p:nvSpPr>
          <p:spPr>
            <a:xfrm>
              <a:off x="1122272" y="2524617"/>
              <a:ext cx="2470752" cy="1036980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r>
                <a:rPr lang="hu-HU" sz="1200" b="1" u="sng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oal_id</a:t>
              </a:r>
              <a:r>
                <a:rPr lang="hu-H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hu-HU" sz="12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endParaRPr lang="hu-HU" sz="12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und_id</a:t>
              </a:r>
              <a:endParaRPr lang="hu-H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yer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hu-HU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</a:t>
              </a:r>
              <a:r>
                <a:rPr lang="hu-HU" sz="12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al_minute</a:t>
              </a:r>
              <a:endParaRPr lang="hu-H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églalap 33"/>
            <p:cNvSpPr/>
            <p:nvPr/>
          </p:nvSpPr>
          <p:spPr>
            <a:xfrm>
              <a:off x="1122272" y="2524617"/>
              <a:ext cx="2470752" cy="280800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Aft>
                  <a:spcPts val="600"/>
                </a:spcAft>
              </a:pPr>
              <a:endParaRPr lang="hu-H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églalap 34"/>
            <p:cNvSpPr/>
            <p:nvPr/>
          </p:nvSpPr>
          <p:spPr>
            <a:xfrm>
              <a:off x="2609643" y="2524617"/>
              <a:ext cx="983380" cy="103698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>
                <a:spcAft>
                  <a:spcPts val="600"/>
                </a:spcAft>
              </a:pPr>
              <a:r>
                <a:rPr lang="hu-HU" sz="12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RCHAR</a:t>
              </a:r>
            </a:p>
            <a:p>
              <a:pPr algn="r">
                <a:spcAft>
                  <a:spcPts val="600"/>
                </a:spcAft>
              </a:pPr>
              <a:r>
                <a:rPr lang="hu-H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13D9EE-6B6D-4C64-9B53-7F27F36C3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880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13D9EE-6B6D-4C64-9B53-7F27F36C3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4884B9E-0360-466E-85F3-2E20DF6AFC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265" y="5814127"/>
            <a:ext cx="1062597" cy="688273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004C80-FA8C-4527-A769-BD188D262C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0" y="-1"/>
            <a:ext cx="12192000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2075" tIns="384175" rIns="0" bIns="3841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ating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bles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hu-HU" sz="1800" b="1" i="0" u="none" strike="noStrike" kern="1200" cap="all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C809D1D-97C8-43F6-A8C0-6F210BF832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02200" y="5815013"/>
            <a:ext cx="1909763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268288" rIns="0" bIns="268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2</a:t>
            </a:r>
            <a:endParaRPr kumimoji="0" lang="hu-HU" sz="1100" b="0" i="1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Csoportba foglalás 16"/>
          <p:cNvGrpSpPr/>
          <p:nvPr/>
        </p:nvGrpSpPr>
        <p:grpSpPr>
          <a:xfrm>
            <a:off x="446886" y="1144108"/>
            <a:ext cx="11298228" cy="4523045"/>
            <a:chOff x="293772" y="1144108"/>
            <a:chExt cx="11298228" cy="4670018"/>
          </a:xfrm>
        </p:grpSpPr>
        <p:sp>
          <p:nvSpPr>
            <p:cNvPr id="36" name="Téglalap 35"/>
            <p:cNvSpPr/>
            <p:nvPr/>
          </p:nvSpPr>
          <p:spPr>
            <a:xfrm>
              <a:off x="293772" y="1144995"/>
              <a:ext cx="5649828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atabas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project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ATABAS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Ujpes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;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 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coreboard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bl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project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BL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Result`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AUTO_INCREME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da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err="1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a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UNIQUE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home_team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err="1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rchar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away_team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err="1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rchar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home_scor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away_scor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oint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efere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err="1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rchar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RIMAR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KE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);</a:t>
              </a:r>
            </a:p>
            <a:p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  <a:cs typeface="Arial" panose="020B0604020202020204" pitchFamily="34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oalscorers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bl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project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BL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oal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AUTO_INCREME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layer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err="1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rchar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oal_minu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RIMAR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KE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oal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OREIGN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KE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EFERENC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Result`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endParaRPr lang="hu-HU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églalap 36"/>
            <p:cNvSpPr/>
            <p:nvPr/>
          </p:nvSpPr>
          <p:spPr>
            <a:xfrm>
              <a:off x="5943600" y="1144108"/>
              <a:ext cx="5648400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yellow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ards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bl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or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project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-- --------------------------------------------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REA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ABL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yellow_car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AUTO_INCREME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layer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err="1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rchar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yellow_card_minute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 </a:t>
              </a:r>
              <a:r>
                <a:rPr lang="hu-HU" sz="800" dirty="0" smtClean="0">
                  <a:solidFill>
                    <a:srgbClr val="8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O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ULL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RIMAR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KE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yellow_car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,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OREIGN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KEY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EFERENC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Result`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dirty="0" err="1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ound_id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`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721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13D9EE-6B6D-4C64-9B53-7F27F36C3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80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13D9EE-6B6D-4C64-9B53-7F27F36C3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4884B9E-0360-466E-85F3-2E20DF6AFC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265" y="5814127"/>
            <a:ext cx="1062597" cy="688273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004C80-FA8C-4527-A769-BD188D262C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0" y="-1"/>
            <a:ext cx="12192000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2075" tIns="384175" rIns="0" bIns="3841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ating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bles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hu-HU" sz="1800" b="1" i="0" u="none" strike="noStrike" kern="1200" cap="all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C809D1D-97C8-43F6-A8C0-6F210BF832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02200" y="5815013"/>
            <a:ext cx="1909763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268288" rIns="0" bIns="268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3</a:t>
            </a:r>
            <a:endParaRPr kumimoji="0" lang="hu-HU" sz="1100" b="0" i="1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446886" y="1144967"/>
            <a:ext cx="11298228" cy="45221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--------------------------------------------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</a:t>
            </a:r>
            <a:r>
              <a:rPr lang="hu-HU" sz="800" dirty="0" err="1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ll</a:t>
            </a: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ble</a:t>
            </a: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dirty="0" smtClean="0">
                <a:solidFill>
                  <a:srgbClr val="00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-- --------------------------------------------     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07-30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ezőkövesd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Zsóry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intér Csaba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08-07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uskás Akadémia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ognár Tamás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08-13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ZTE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Vad II. István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0-10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OL Fehérvár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Farkas Ádám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08-26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aksi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áprály Mihály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09-01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uda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nvéd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erke Balázs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09-04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Ferencvárosi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ognár Tamás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09-11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Vasas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arakó Feren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0-01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isvárda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aster Good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intér Csaba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0-07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ecskeméti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E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Andó-Szabó Sándor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0-16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DVS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Antal Péter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0-24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ezőkövesd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Zsóry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Zierkelbach Péter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0-30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uskás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kadémia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ogár Gergő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1-05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ZTE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Erdős József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1-09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OL Fehérvár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intér Csaba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2-11-12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aksi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Vad II. István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1-29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uda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Honvéd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arakó Feren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8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2-05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Ferencvárosi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erke Balázs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2-12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Vasas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intér Csaba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2-17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isvárda Master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ood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Rúsz Márton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2-26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ecskeméti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Derdák Marcell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3-05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DVS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arakó Feren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3-12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ezőkövesd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Zsóry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Andó-Szabó Sándor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3-19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uskás Akadémia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Vad II. István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5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01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ZTE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áprály Mihály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6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08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MOL Fehérvár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intér Csaba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7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16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Paksi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Vad II. István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8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4-21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uda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nvéd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erke Balázs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9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5-01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Ferencvárosi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Bogár Gergő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5-06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Vasas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arakó Feren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1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5-14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isvárda Master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Good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Erdős József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2023-05-21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Újpest 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C'</a:t>
            </a:r>
            <a:r>
              <a:rPr lang="hu-HU" sz="800" b="1" dirty="0" err="1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err="1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Kecskeméti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E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Farkas Ádám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hu-HU" sz="8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INSERT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INTO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 `Season_2022_2023_Result` </a:t>
            </a:r>
            <a:r>
              <a:rPr lang="hu-HU" sz="800" b="1" dirty="0" smtClean="0">
                <a:solidFill>
                  <a:srgbClr val="0000FF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VALUES</a:t>
            </a:r>
            <a:r>
              <a:rPr lang="hu-HU" sz="800" dirty="0" smtClean="0">
                <a:solidFill>
                  <a:srgbClr val="000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 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(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33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'2023-05-27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'DVS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'Újpest FC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2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FF800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0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,</a:t>
            </a:r>
            <a:r>
              <a:rPr lang="hu-HU" sz="800" dirty="0" smtClean="0">
                <a:solidFill>
                  <a:srgbClr val="808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'Bogár Gergő'</a:t>
            </a:r>
            <a:r>
              <a:rPr lang="hu-HU" sz="800" b="1" dirty="0" smtClean="0">
                <a:solidFill>
                  <a:srgbClr val="000080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</a:rPr>
              <a:t>);</a:t>
            </a:r>
            <a:endParaRPr lang="hu-HU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18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13D9EE-6B6D-4C64-9B53-7F27F36C3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7073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13D9EE-6B6D-4C64-9B53-7F27F36C3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4884B9E-0360-466E-85F3-2E20DF6AFC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265" y="5814127"/>
            <a:ext cx="1062597" cy="688273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004C80-FA8C-4527-A769-BD188D262C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0" y="-1"/>
            <a:ext cx="12192000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2075" tIns="384175" rIns="0" bIns="3841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ating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bles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hu-HU" sz="1800" b="1" i="0" u="none" strike="noStrike" kern="1200" cap="all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C809D1D-97C8-43F6-A8C0-6F210BF832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02200" y="5815013"/>
            <a:ext cx="1909763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268288" rIns="0" bIns="268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4</a:t>
            </a:r>
            <a:endParaRPr kumimoji="0" lang="hu-HU" sz="1100" b="0" i="1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Csoportba foglalás 16"/>
          <p:cNvGrpSpPr/>
          <p:nvPr/>
        </p:nvGrpSpPr>
        <p:grpSpPr>
          <a:xfrm>
            <a:off x="446886" y="1144108"/>
            <a:ext cx="11298228" cy="4523045"/>
            <a:chOff x="293772" y="1144108"/>
            <a:chExt cx="11298228" cy="4670018"/>
          </a:xfrm>
        </p:grpSpPr>
        <p:sp>
          <p:nvSpPr>
            <p:cNvPr id="36" name="Téglalap 35"/>
            <p:cNvSpPr/>
            <p:nvPr/>
          </p:nvSpPr>
          <p:spPr>
            <a:xfrm>
              <a:off x="293772" y="1144995"/>
              <a:ext cx="5649828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tona Mátyá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Tall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adj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Celi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Pauljevic Branko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tona Mátyá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Vranjanin Milo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imon Krisztiá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0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0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imon Krisztiá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ngvai Áro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both Kevi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zabó Báli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mbrose Peter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strati Lir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Mudrinski Ognje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both Kevi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0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imon Krisztiá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imon Krisztiá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Varga György Baláz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Mudrinski Ognje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Mudrinski Ognje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Varga György Baláz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both Kevi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both Kevi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both Kevi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Mörschel Heinz Rober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Téglalap 36"/>
            <p:cNvSpPr/>
            <p:nvPr/>
          </p:nvSpPr>
          <p:spPr>
            <a:xfrm>
              <a:off x="5943600" y="1144108"/>
              <a:ext cx="5648400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imon Krisztiá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0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ntzoulas Georgio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Mörschel Heinz Rober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`Season_2022_2023_Goal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4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'3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5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);</a:t>
              </a:r>
            </a:p>
            <a:p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Luca Mack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ngvai Áro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Bjelos Mirosla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Pauljevic Branko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Boumal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ayega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Petru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Bjelos Mirosla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tona Mátyá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Lahne Jack Daniel Kalichi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Borello Giusepp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Bjelos Mirosla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zabó Báli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Pauljevic Branko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Ljujic Matija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ngvai Áro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Tall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adj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Celi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Onov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ukwuebuka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Vince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Pauljevic Branko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ngvai Áro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uusk Marte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339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13D9EE-6B6D-4C64-9B53-7F27F36C3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59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13D9EE-6B6D-4C64-9B53-7F27F36C3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4884B9E-0360-466E-85F3-2E20DF6AFC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265" y="5814127"/>
            <a:ext cx="1062597" cy="688273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004C80-FA8C-4527-A769-BD188D262C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0" y="-1"/>
            <a:ext cx="12192000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2075" tIns="384175" rIns="0" bIns="3841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ating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bles</a:t>
            </a: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hu-HU" sz="1800" b="1" i="0" u="none" strike="noStrike" kern="1200" cap="all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C809D1D-97C8-43F6-A8C0-6F210BF832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02200" y="5815013"/>
            <a:ext cx="1909763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268288" rIns="0" bIns="268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5</a:t>
            </a:r>
            <a:endParaRPr kumimoji="0" lang="hu-HU" sz="1100" b="0" i="1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Csoportba foglalás 16"/>
          <p:cNvGrpSpPr/>
          <p:nvPr/>
        </p:nvGrpSpPr>
        <p:grpSpPr>
          <a:xfrm>
            <a:off x="446886" y="1144108"/>
            <a:ext cx="11298228" cy="4523045"/>
            <a:chOff x="293772" y="1144108"/>
            <a:chExt cx="11298228" cy="4670018"/>
          </a:xfrm>
        </p:grpSpPr>
        <p:sp>
          <p:nvSpPr>
            <p:cNvPr id="36" name="Téglalap 35"/>
            <p:cNvSpPr/>
            <p:nvPr/>
          </p:nvSpPr>
          <p:spPr>
            <a:xfrm>
              <a:off x="293772" y="1144995"/>
              <a:ext cx="5649828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Onov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ukwuebuka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Vince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ngvai Áro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Onov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ukwuebuka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Vince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Bjelos Mirosla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0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Luca Mack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tona Mátyá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Tall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adj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Celi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Nemanja Antono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5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Bjelos Miroslav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strati Lir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Luca Mack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tona Mátyá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3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Onov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ukwuebuka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Vince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Hall T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Kastrati Lir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Onovo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ukwuebuka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Vince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Hall T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1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Szabó Bálint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Dorde Nikolic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Jakobi Lui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2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ntzoulas Georgio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4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ntzoulas Georgio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6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Hall T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7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Dorde Nikolic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Téglalap 36"/>
            <p:cNvSpPr/>
            <p:nvPr/>
          </p:nvSpPr>
          <p:spPr>
            <a:xfrm>
              <a:off x="5943600" y="1144108"/>
              <a:ext cx="5648400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Hall T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4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8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Luca Mack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5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6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Hall Tim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7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both Kevi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29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Jakobi Luis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8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9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1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Csoboth Kevin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1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Abdoulaye Diaby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7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2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3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'Goure </a:t>
              </a:r>
              <a:r>
                <a:rPr lang="hu-HU" sz="800" dirty="0" err="1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i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Irie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8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;</a:t>
              </a:r>
              <a:endParaRPr lang="hu-HU" sz="10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INSERT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INTO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`Season_2022_2023_Yellow_Cards` </a:t>
              </a:r>
              <a:r>
                <a:rPr lang="hu-HU" sz="800" b="1" dirty="0" smtClean="0">
                  <a:solidFill>
                    <a:srgbClr val="0000FF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VALUES</a:t>
              </a:r>
              <a:r>
                <a:rPr lang="hu-HU" sz="800" dirty="0" smtClean="0">
                  <a:solidFill>
                    <a:srgbClr val="000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 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(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63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'33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808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'Pauljevic Branko'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,</a:t>
              </a:r>
              <a:r>
                <a:rPr lang="hu-HU" sz="800" dirty="0" smtClean="0">
                  <a:solidFill>
                    <a:srgbClr val="FF800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20</a:t>
              </a:r>
              <a:r>
                <a:rPr lang="hu-HU" sz="800" b="1" dirty="0" smtClean="0">
                  <a:solidFill>
                    <a:srgbClr val="000080"/>
                  </a:solidFill>
                  <a:effectLst/>
                  <a:latin typeface="Courier New" panose="02070309020205020404" pitchFamily="49" charset="0"/>
                  <a:ea typeface="Times New Roman" panose="02020603050405020304" pitchFamily="18" charset="0"/>
                </a:rPr>
                <a:t>);</a:t>
              </a:r>
              <a:endParaRPr lang="hu-HU" sz="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531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13D9EE-6B6D-4C64-9B53-7F27F36C3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56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13D9EE-6B6D-4C64-9B53-7F27F36C3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4884B9E-0360-466E-85F3-2E20DF6AFC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265" y="5814127"/>
            <a:ext cx="1062597" cy="688273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004C80-FA8C-4527-A769-BD188D262C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0" y="-1"/>
            <a:ext cx="12192000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2075" tIns="384175" rIns="0" bIns="3841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ic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ries</a:t>
            </a:r>
            <a:endParaRPr kumimoji="0" lang="hu-HU" sz="1800" b="1" i="0" u="none" strike="noStrike" kern="1200" cap="all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C809D1D-97C8-43F6-A8C0-6F210BF832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02200" y="5815013"/>
            <a:ext cx="1909763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268288" rIns="0" bIns="268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5</a:t>
            </a:r>
            <a:endParaRPr kumimoji="0" lang="hu-HU" sz="1100" b="0" i="1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Csoportba foglalás 16"/>
          <p:cNvGrpSpPr/>
          <p:nvPr/>
        </p:nvGrpSpPr>
        <p:grpSpPr>
          <a:xfrm>
            <a:off x="446886" y="1144108"/>
            <a:ext cx="11298228" cy="4523045"/>
            <a:chOff x="293772" y="1144108"/>
            <a:chExt cx="11298228" cy="4670018"/>
          </a:xfrm>
        </p:grpSpPr>
        <p:sp>
          <p:nvSpPr>
            <p:cNvPr id="36" name="Téglalap 35"/>
            <p:cNvSpPr/>
            <p:nvPr/>
          </p:nvSpPr>
          <p:spPr>
            <a:xfrm>
              <a:off x="293772" y="1144995"/>
              <a:ext cx="5649828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How many points has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received in the whole season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SUM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points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season_2022_2023_result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endParaRPr lang="hu-HU" sz="800" dirty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How many points has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received in the whole season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Only home games matter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SUM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points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result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 FC'</a:t>
              </a:r>
              <a:endParaRPr lang="en-US" sz="800" dirty="0"/>
            </a:p>
            <a:p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How many points has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received in the whole season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Only away games matter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SUM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points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result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away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 FC'</a:t>
              </a:r>
              <a:endParaRPr lang="en-US" sz="800" dirty="0"/>
            </a:p>
            <a:p>
              <a:endParaRPr lang="hu-HU" sz="800" dirty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endParaRPr lang="hu-HU" sz="800" dirty="0">
                <a:solidFill>
                  <a:srgbClr val="008000"/>
                </a:solidFill>
                <a:latin typeface="Courier New" panose="02070309020205020404" pitchFamily="49" charset="0"/>
              </a:endParaRPr>
            </a:p>
          </p:txBody>
        </p:sp>
        <p:sp>
          <p:nvSpPr>
            <p:cNvPr id="37" name="Téglalap 36"/>
            <p:cNvSpPr/>
            <p:nvPr/>
          </p:nvSpPr>
          <p:spPr>
            <a:xfrm>
              <a:off x="5943600" y="1144108"/>
              <a:ext cx="5648400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How many goal scorer 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has Újpest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have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with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'y' in their name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*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LIK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%y</a:t>
              </a:r>
              <a:r>
                <a:rPr lang="en-US" sz="800" dirty="0" smtClean="0">
                  <a:solidFill>
                    <a:srgbClr val="808080"/>
                  </a:solidFill>
                  <a:latin typeface="Courier New" panose="02070309020205020404" pitchFamily="49" charset="0"/>
                </a:rPr>
                <a:t>%'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endParaRPr lang="hu-HU" sz="800" b="1" dirty="0" smtClean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How many goal scorer 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has Újpest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have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with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'y' in their name as a last character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*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LIK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%y'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endParaRPr lang="en-US" sz="800" dirty="0"/>
            </a:p>
            <a:p>
              <a:endParaRPr lang="hu-HU" sz="800" dirty="0" smtClean="0"/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Top goal 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scorers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Only show the top 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3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In descending order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71463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összgól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71463"/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GROUP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BY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ORDER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BY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összgól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DESC</a:t>
              </a:r>
              <a:endParaRPr lang="hu-HU" sz="800" b="1" dirty="0" smtClean="0">
                <a:solidFill>
                  <a:srgbClr val="0000FF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LIMI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smtClean="0">
                  <a:solidFill>
                    <a:srgbClr val="FF8000"/>
                  </a:solidFill>
                  <a:latin typeface="Courier New" panose="02070309020205020404" pitchFamily="49" charset="0"/>
                </a:rPr>
                <a:t>5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endParaRPr lang="hu-HU" sz="800" b="1" dirty="0" smtClean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Top goal scorers in home matches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g</a:t>
              </a:r>
              <a:r>
                <a:rPr lang="en-US" sz="800" b="1" dirty="0" err="1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összgól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g</a:t>
              </a:r>
              <a:r>
                <a:rPr lang="en-US" sz="800" b="1" dirty="0" err="1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 g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LEF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JOIN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result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r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ON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ound_id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ound_id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LIK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%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%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GROUP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BY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ORDER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BY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összgól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DESC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LIMI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5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endParaRPr lang="hu-HU" sz="800" b="1" dirty="0" smtClean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H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ow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many different players scored a goal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DISTIN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different_goal_scorers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goal_scorer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total_goal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</a:t>
              </a:r>
              <a:endParaRPr lang="en-US" sz="800" dirty="0"/>
            </a:p>
            <a:p>
              <a:endParaRPr lang="en-US" sz="800" dirty="0"/>
            </a:p>
            <a:p>
              <a:endParaRPr lang="en-US" sz="800" dirty="0"/>
            </a:p>
            <a:p>
              <a:endParaRPr lang="en-US" sz="800" dirty="0"/>
            </a:p>
            <a:p>
              <a:endParaRPr lang="en-US" sz="800" dirty="0">
                <a:effectLst/>
              </a:endParaRPr>
            </a:p>
          </p:txBody>
        </p:sp>
      </p:grpSp>
      <p:sp>
        <p:nvSpPr>
          <p:cNvPr id="3" name="Téglalap 2"/>
          <p:cNvSpPr/>
          <p:nvPr/>
        </p:nvSpPr>
        <p:spPr>
          <a:xfrm>
            <a:off x="446886" y="895149"/>
            <a:ext cx="5472000" cy="250392"/>
          </a:xfrm>
          <a:prstGeom prst="rect">
            <a:avLst/>
          </a:prstGeom>
          <a:solidFill>
            <a:srgbClr val="8593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ints</a:t>
            </a:r>
            <a:endParaRPr 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6096714" y="892857"/>
            <a:ext cx="5472000" cy="250392"/>
          </a:xfrm>
          <a:prstGeom prst="rect">
            <a:avLst/>
          </a:prstGeom>
          <a:solidFill>
            <a:srgbClr val="8593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al</a:t>
            </a:r>
            <a:r>
              <a:rPr lang="hu-H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corers</a:t>
            </a:r>
            <a:endParaRPr 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80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13D9EE-6B6D-4C64-9B53-7F27F36C33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13D9EE-6B6D-4C64-9B53-7F27F36C3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4884B9E-0360-466E-85F3-2E20DF6AFC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265" y="5814127"/>
            <a:ext cx="1062597" cy="688273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004C80-FA8C-4527-A769-BD188D262CB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0" y="-1"/>
            <a:ext cx="12192000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2075" tIns="384175" rIns="0" bIns="3841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ic </a:t>
            </a:r>
            <a:r>
              <a:rPr kumimoji="0" lang="hu-HU" altLang="en-US" sz="18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ries</a:t>
            </a:r>
            <a:endParaRPr kumimoji="0" lang="hu-HU" sz="1800" b="1" i="0" u="none" strike="noStrike" kern="1200" cap="all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C809D1D-97C8-43F6-A8C0-6F210BF832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02200" y="5815013"/>
            <a:ext cx="1909763" cy="68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268288" rIns="0" bIns="268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alt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#5</a:t>
            </a:r>
            <a:endParaRPr kumimoji="0" lang="hu-HU" sz="1100" b="0" i="1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Csoportba foglalás 16"/>
          <p:cNvGrpSpPr/>
          <p:nvPr/>
        </p:nvGrpSpPr>
        <p:grpSpPr>
          <a:xfrm>
            <a:off x="446886" y="1144108"/>
            <a:ext cx="11298228" cy="4523045"/>
            <a:chOff x="293772" y="1144108"/>
            <a:chExt cx="11298228" cy="4670018"/>
          </a:xfrm>
        </p:grpSpPr>
        <p:sp>
          <p:nvSpPr>
            <p:cNvPr id="36" name="Téglalap 35"/>
            <p:cNvSpPr/>
            <p:nvPr/>
          </p:nvSpPr>
          <p:spPr>
            <a:xfrm>
              <a:off x="293772" y="1144995"/>
              <a:ext cx="5649828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How many goals has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scored in the whole season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id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season_2022_2023_goals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endParaRPr lang="hu-HU" sz="800" dirty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How many goals has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scored in the whole season?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Only the first half matters 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id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minut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&lt;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46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en-US" sz="800" dirty="0"/>
            </a:p>
            <a:p>
              <a:endParaRPr lang="hu-HU" sz="800" dirty="0" smtClean="0"/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Against which opponent has scored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the most goals in the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Szusza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Ferenc Stadium? 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hu-HU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MAX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home_score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smtClean="0">
                  <a:solidFill>
                    <a:srgbClr val="808080"/>
                  </a:solidFill>
                  <a:latin typeface="Courier New" panose="02070309020205020404" pitchFamily="49" charset="0"/>
                </a:rPr>
                <a:t>'goal‚</a:t>
              </a:r>
              <a:endParaRPr lang="hu-HU" sz="800" dirty="0" smtClean="0">
                <a:solidFill>
                  <a:srgbClr val="80808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result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 FC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ORDER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BY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scor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DESC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endParaRPr lang="hu-HU" sz="800" b="1" dirty="0" smtClean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How many goals has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scored in the whole season? -- Only the second half matters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id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R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oal_minut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BETWEEN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45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ND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100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endParaRPr lang="hu-HU" sz="800" b="1" dirty="0" smtClean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Flag those 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match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es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when </a:t>
              </a:r>
              <a:r>
                <a:rPr lang="en-US" sz="800" dirty="0" err="1">
                  <a:solidFill>
                    <a:srgbClr val="00800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didn't concede a 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goal</a:t>
              </a:r>
              <a:endParaRPr lang="hu-HU" sz="800" dirty="0" smtClean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Add a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new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column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called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clean</a:t>
              </a:r>
              <a:r>
                <a:rPr lang="hu-HU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sheet</a:t>
              </a: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DISTINCT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team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away_team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score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away_score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CAS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	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N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 FC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ND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away_scor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0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THEN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YES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hu-HU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	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WHEN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away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 FC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ND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scor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0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THEN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YES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hu-HU" sz="800" b="1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	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ELS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NO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END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clean_sheet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goals g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JOIN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season_2022_2023_result r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355600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ON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g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ound_id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</a:t>
              </a:r>
              <a:r>
                <a:rPr lang="en-US" sz="800" b="1" dirty="0" err="1">
                  <a:solidFill>
                    <a:srgbClr val="000080"/>
                  </a:solidFill>
                  <a:latin typeface="Courier New" panose="02070309020205020404" pitchFamily="49" charset="0"/>
                </a:rPr>
                <a:t>.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round_id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355600"/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hu-HU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Count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the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number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of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goals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Újpest has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scored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in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home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and in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away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in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different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 </a:t>
              </a:r>
              <a:r>
                <a:rPr lang="hu-HU" sz="800" dirty="0" err="1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columns</a:t>
              </a:r>
              <a:endParaRPr lang="hu-HU" sz="800" b="1" dirty="0" smtClean="0">
                <a:solidFill>
                  <a:srgbClr val="0000FF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355600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UM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CAS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WHEN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 FC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THEN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ome_scor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ELS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0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END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hazai_golok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355600"/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SUM</a:t>
              </a:r>
              <a:r>
                <a:rPr lang="en-US" sz="800" b="1" dirty="0" smtClean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CASE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WHEN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away_tea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=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Újpes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 FC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THEN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away_scor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ELSE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0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END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vendeg_golok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 smtClean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 smtClean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 smtClean="0">
                  <a:solidFill>
                    <a:srgbClr val="000000"/>
                  </a:solidFill>
                  <a:latin typeface="Courier New" panose="02070309020205020404" pitchFamily="49" charset="0"/>
                </a:rPr>
                <a:t> season_2022_2023_result</a:t>
              </a:r>
              <a:endParaRPr lang="en-US" sz="800" dirty="0"/>
            </a:p>
            <a:p>
              <a:endParaRPr lang="en-US" sz="800" dirty="0"/>
            </a:p>
            <a:p>
              <a:endParaRPr lang="en-US" sz="800" dirty="0"/>
            </a:p>
            <a:p>
              <a:endParaRPr lang="en-US" sz="800" dirty="0"/>
            </a:p>
            <a:p>
              <a:pPr>
                <a:lnSpc>
                  <a:spcPct val="107000"/>
                </a:lnSpc>
                <a:spcAft>
                  <a:spcPts val="0"/>
                </a:spcAft>
              </a:pPr>
              <a:endParaRPr lang="hu-HU" sz="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Téglalap 36"/>
            <p:cNvSpPr/>
            <p:nvPr/>
          </p:nvSpPr>
          <p:spPr>
            <a:xfrm>
              <a:off x="5943600" y="1144108"/>
              <a:ext cx="5648400" cy="4669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Order by descending </a:t>
              </a:r>
              <a:r>
                <a:rPr lang="hu-HU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</a:t>
              </a:r>
              <a:r>
                <a:rPr lang="en-US" sz="800" dirty="0" smtClean="0">
                  <a:solidFill>
                    <a:srgbClr val="008000"/>
                  </a:solidFill>
                  <a:latin typeface="Courier New" panose="02070309020205020404" pitchFamily="49" charset="0"/>
                </a:rPr>
                <a:t>- </a:t>
              </a:r>
              <a:r>
                <a:rPr lang="en-US" sz="800" dirty="0">
                  <a:solidFill>
                    <a:srgbClr val="008000"/>
                  </a:solidFill>
                  <a:latin typeface="Courier New" panose="02070309020205020404" pitchFamily="49" charset="0"/>
                </a:rPr>
                <a:t>Show only the top5 </a:t>
              </a:r>
              <a:endParaRPr lang="hu-HU" sz="800" dirty="0">
                <a:solidFill>
                  <a:srgbClr val="008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SELECT</a:t>
              </a:r>
              <a:endParaRPr lang="hu-HU" sz="800" b="1" dirty="0">
                <a:solidFill>
                  <a:srgbClr val="0000FF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COUNT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referee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meccsszám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endParaRPr lang="hu-HU" sz="800" b="1" dirty="0">
                <a:solidFill>
                  <a:srgbClr val="000080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referee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,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pPr marL="269875"/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SUM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(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points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)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AS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 err="1">
                  <a:solidFill>
                    <a:srgbClr val="808080"/>
                  </a:solidFill>
                  <a:latin typeface="Courier New" panose="02070309020205020404" pitchFamily="49" charset="0"/>
                </a:rPr>
                <a:t>összpont</a:t>
              </a:r>
              <a:r>
                <a:rPr lang="en-US" sz="800" dirty="0">
                  <a:solidFill>
                    <a:srgbClr val="808080"/>
                  </a:solidFill>
                  <a:latin typeface="Courier New" panose="02070309020205020404" pitchFamily="49" charset="0"/>
                </a:rPr>
                <a:t>'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FRO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season_2022_2023_result </a:t>
              </a:r>
              <a:endParaRPr lang="hu-HU" sz="800" dirty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GROUP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BY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referee </a:t>
              </a:r>
              <a:endParaRPr lang="hu-HU" sz="800" dirty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ORDER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BY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 err="1">
                  <a:solidFill>
                    <a:srgbClr val="000000"/>
                  </a:solidFill>
                  <a:latin typeface="Courier New" panose="02070309020205020404" pitchFamily="49" charset="0"/>
                </a:rPr>
                <a:t>meccsszám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DESC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endParaRPr lang="hu-HU" sz="800" dirty="0">
                <a:solidFill>
                  <a:srgbClr val="000000"/>
                </a:solidFill>
                <a:latin typeface="Courier New" panose="02070309020205020404" pitchFamily="49" charset="0"/>
              </a:endParaRPr>
            </a:p>
            <a:p>
              <a:r>
                <a:rPr lang="en-US" sz="800" b="1" dirty="0">
                  <a:solidFill>
                    <a:srgbClr val="0000FF"/>
                  </a:solidFill>
                  <a:latin typeface="Courier New" panose="02070309020205020404" pitchFamily="49" charset="0"/>
                </a:rPr>
                <a:t>LIMIT</a:t>
              </a:r>
              <a:r>
                <a:rPr lang="en-US" sz="800" dirty="0">
                  <a:solidFill>
                    <a:srgbClr val="000000"/>
                  </a:solidFill>
                  <a:latin typeface="Courier New" panose="02070309020205020404" pitchFamily="49" charset="0"/>
                </a:rPr>
                <a:t> </a:t>
              </a:r>
              <a:r>
                <a:rPr lang="en-US" sz="800" dirty="0">
                  <a:solidFill>
                    <a:srgbClr val="FF8000"/>
                  </a:solidFill>
                  <a:latin typeface="Courier New" panose="02070309020205020404" pitchFamily="49" charset="0"/>
                </a:rPr>
                <a:t>5</a:t>
              </a:r>
              <a:r>
                <a:rPr lang="en-US" sz="800" b="1" dirty="0">
                  <a:solidFill>
                    <a:srgbClr val="000080"/>
                  </a:solidFill>
                  <a:latin typeface="Courier New" panose="02070309020205020404" pitchFamily="49" charset="0"/>
                </a:rPr>
                <a:t>;</a:t>
              </a:r>
              <a:endParaRPr lang="en-US" sz="800" dirty="0"/>
            </a:p>
          </p:txBody>
        </p:sp>
      </p:grpSp>
      <p:sp>
        <p:nvSpPr>
          <p:cNvPr id="3" name="Téglalap 2"/>
          <p:cNvSpPr/>
          <p:nvPr/>
        </p:nvSpPr>
        <p:spPr>
          <a:xfrm>
            <a:off x="446886" y="895149"/>
            <a:ext cx="5472000" cy="250392"/>
          </a:xfrm>
          <a:prstGeom prst="rect">
            <a:avLst/>
          </a:prstGeom>
          <a:solidFill>
            <a:srgbClr val="8593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als</a:t>
            </a:r>
            <a:endParaRPr 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6096714" y="892857"/>
            <a:ext cx="5472000" cy="250392"/>
          </a:xfrm>
          <a:prstGeom prst="rect">
            <a:avLst/>
          </a:prstGeom>
          <a:solidFill>
            <a:srgbClr val="8593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feree</a:t>
            </a:r>
            <a:endParaRPr lang="hu-H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641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2DiHVT7AN3nQN9_T.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jx5Odq5Ftdx4n6uM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2DiHVT7AN3nQN9_T.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jx5Odq5Ftdx4n6uM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2DiHVT7AN3nQN9_T.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jx5Odq5Ftdx4n6uM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2DiHVT7AN3nQN9_T.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jx5Odq5Ftdx4n6uM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2DiHVT7AN3nQN9_T.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jx5Odq5Ftdx4n6uM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2DiHVT7AN3nQN9_T.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jx5Odq5Ftdx4n6uM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82DiHVT7AN3nQN9_T.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jx5Odq5Ftdx4n6uM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</TotalTime>
  <Words>3294</Words>
  <Application>Microsoft Office PowerPoint</Application>
  <PresentationFormat>Szélesvásznú</PresentationFormat>
  <Paragraphs>340</Paragraphs>
  <Slides>7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Courier New</vt:lpstr>
      <vt:lpstr>Times New Roman</vt:lpstr>
      <vt:lpstr>Office Theme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>MVM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MVMP</dc:creator>
  <cp:lastModifiedBy>MVMP</cp:lastModifiedBy>
  <cp:revision>14</cp:revision>
  <dcterms:created xsi:type="dcterms:W3CDTF">2024-03-21T09:12:29Z</dcterms:created>
  <dcterms:modified xsi:type="dcterms:W3CDTF">2024-04-01T12:17:50Z</dcterms:modified>
</cp:coreProperties>
</file>